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1"/>
  </p:sldMasterIdLst>
  <p:notesMasterIdLst>
    <p:notesMasterId r:id="rId5"/>
  </p:notesMasterIdLst>
  <p:handoutMasterIdLst>
    <p:handoutMasterId r:id="rId6"/>
  </p:handoutMasterIdLst>
  <p:sldIdLst>
    <p:sldId id="1352" r:id="rId2"/>
    <p:sldId id="1353" r:id="rId3"/>
    <p:sldId id="1354" r:id="rId4"/>
  </p:sldIdLst>
  <p:sldSz cx="9906000" cy="6858000" type="A4"/>
  <p:notesSz cx="9926638" cy="6797675"/>
  <p:custDataLst>
    <p:tags r:id="rId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Externe Vorstellung MEC" id="{43D2F301-5108-4A94-B3F1-7431B4DA6CBA}">
          <p14:sldIdLst>
            <p14:sldId id="1352"/>
            <p14:sldId id="1353"/>
            <p14:sldId id="135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141" userDrawn="1">
          <p15:clr>
            <a:srgbClr val="A4A3A4"/>
          </p15:clr>
        </p15:guide>
        <p15:guide id="2" pos="3125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x" initials="D" lastIdx="5" clrIdx="0"/>
  <p:cmAuthor id="2" name="Helge" initials="H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560"/>
    <a:srgbClr val="E7E7E7"/>
    <a:srgbClr val="F2F2F2"/>
    <a:srgbClr val="E9EDF4"/>
    <a:srgbClr val="A7C541"/>
    <a:srgbClr val="D9D9D9"/>
    <a:srgbClr val="D6ECFF"/>
    <a:srgbClr val="A2C135"/>
    <a:srgbClr val="8DEDFE"/>
    <a:srgbClr val="95B3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6B56FA4-32F2-499C-AE59-2CD490C7890B}" v="476" dt="2018-08-12T15:27:25.33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088" autoAdjust="0"/>
    <p:restoredTop sz="86404" autoAdjust="0"/>
  </p:normalViewPr>
  <p:slideViewPr>
    <p:cSldViewPr>
      <p:cViewPr varScale="1">
        <p:scale>
          <a:sx n="88" d="100"/>
          <a:sy n="88" d="100"/>
        </p:scale>
        <p:origin x="696" y="7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-4512"/>
    </p:cViewPr>
  </p:sorterViewPr>
  <p:notesViewPr>
    <p:cSldViewPr>
      <p:cViewPr varScale="1">
        <p:scale>
          <a:sx n="78" d="100"/>
          <a:sy n="78" d="100"/>
        </p:scale>
        <p:origin x="3498" y="114"/>
      </p:cViewPr>
      <p:guideLst>
        <p:guide orient="horz" pos="2141"/>
        <p:guide pos="312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microsoft.com/office/2015/10/relationships/revisionInfo" Target="revisionInfo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2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ukas Haxter" userId="6d650791b1a54df7" providerId="LiveId" clId="{F6B56FA4-32F2-499C-AE59-2CD490C7890B}"/>
    <pc:docChg chg="undo custSel addSld modSld">
      <pc:chgData name="Lukas Haxter" userId="6d650791b1a54df7" providerId="LiveId" clId="{F6B56FA4-32F2-499C-AE59-2CD490C7890B}" dt="2018-08-12T15:27:25.339" v="471"/>
      <pc:docMkLst>
        <pc:docMk/>
      </pc:docMkLst>
      <pc:sldChg chg="addSp delSp modSp">
        <pc:chgData name="Lukas Haxter" userId="6d650791b1a54df7" providerId="LiveId" clId="{F6B56FA4-32F2-499C-AE59-2CD490C7890B}" dt="2018-08-12T14:59:47.959" v="46" actId="113"/>
        <pc:sldMkLst>
          <pc:docMk/>
          <pc:sldMk cId="2437182439" sldId="1326"/>
        </pc:sldMkLst>
        <pc:spChg chg="del mod">
          <ac:chgData name="Lukas Haxter" userId="6d650791b1a54df7" providerId="LiveId" clId="{F6B56FA4-32F2-499C-AE59-2CD490C7890B}" dt="2018-08-12T14:59:27.293" v="40" actId="478"/>
          <ac:spMkLst>
            <pc:docMk/>
            <pc:sldMk cId="2437182439" sldId="1326"/>
            <ac:spMk id="17" creationId="{00000000-0000-0000-0000-000000000000}"/>
          </ac:spMkLst>
        </pc:spChg>
        <pc:spChg chg="del">
          <ac:chgData name="Lukas Haxter" userId="6d650791b1a54df7" providerId="LiveId" clId="{F6B56FA4-32F2-499C-AE59-2CD490C7890B}" dt="2018-08-12T14:57:31.855" v="27" actId="478"/>
          <ac:spMkLst>
            <pc:docMk/>
            <pc:sldMk cId="2437182439" sldId="1326"/>
            <ac:spMk id="19" creationId="{00000000-0000-0000-0000-000000000000}"/>
          </ac:spMkLst>
        </pc:spChg>
        <pc:grpChg chg="del">
          <ac:chgData name="Lukas Haxter" userId="6d650791b1a54df7" providerId="LiveId" clId="{F6B56FA4-32F2-499C-AE59-2CD490C7890B}" dt="2018-08-12T14:58:47.931" v="28" actId="478"/>
          <ac:grpSpMkLst>
            <pc:docMk/>
            <pc:sldMk cId="2437182439" sldId="1326"/>
            <ac:grpSpMk id="3" creationId="{00000000-0000-0000-0000-000000000000}"/>
          </ac:grpSpMkLst>
        </pc:grpChg>
        <pc:grpChg chg="mod">
          <ac:chgData name="Lukas Haxter" userId="6d650791b1a54df7" providerId="LiveId" clId="{F6B56FA4-32F2-499C-AE59-2CD490C7890B}" dt="2018-08-12T14:59:17.967" v="37" actId="1076"/>
          <ac:grpSpMkLst>
            <pc:docMk/>
            <pc:sldMk cId="2437182439" sldId="1326"/>
            <ac:grpSpMk id="16" creationId="{00000000-0000-0000-0000-000000000000}"/>
          </ac:grpSpMkLst>
        </pc:grpChg>
        <pc:graphicFrameChg chg="mod">
          <ac:chgData name="Lukas Haxter" userId="6d650791b1a54df7" providerId="LiveId" clId="{F6B56FA4-32F2-499C-AE59-2CD490C7890B}" dt="2018-08-12T14:59:47.959" v="46" actId="113"/>
          <ac:graphicFrameMkLst>
            <pc:docMk/>
            <pc:sldMk cId="2437182439" sldId="1326"/>
            <ac:graphicFrameMk id="4" creationId="{00000000-0000-0000-0000-000000000000}"/>
          </ac:graphicFrameMkLst>
        </pc:graphicFrameChg>
        <pc:picChg chg="del">
          <ac:chgData name="Lukas Haxter" userId="6d650791b1a54df7" providerId="LiveId" clId="{F6B56FA4-32F2-499C-AE59-2CD490C7890B}" dt="2018-08-12T14:56:59.142" v="9" actId="478"/>
          <ac:picMkLst>
            <pc:docMk/>
            <pc:sldMk cId="2437182439" sldId="1326"/>
            <ac:picMk id="5" creationId="{00000000-0000-0000-0000-000000000000}"/>
          </ac:picMkLst>
        </pc:picChg>
        <pc:picChg chg="del">
          <ac:chgData name="Lukas Haxter" userId="6d650791b1a54df7" providerId="LiveId" clId="{F6B56FA4-32F2-499C-AE59-2CD490C7890B}" dt="2018-08-12T14:58:47.931" v="28" actId="478"/>
          <ac:picMkLst>
            <pc:docMk/>
            <pc:sldMk cId="2437182439" sldId="1326"/>
            <ac:picMk id="9" creationId="{00000000-0000-0000-0000-000000000000}"/>
          </ac:picMkLst>
        </pc:picChg>
        <pc:picChg chg="add mod modCrop">
          <ac:chgData name="Lukas Haxter" userId="6d650791b1a54df7" providerId="LiveId" clId="{F6B56FA4-32F2-499C-AE59-2CD490C7890B}" dt="2018-08-12T14:57:30.541" v="26" actId="1076"/>
          <ac:picMkLst>
            <pc:docMk/>
            <pc:sldMk cId="2437182439" sldId="1326"/>
            <ac:picMk id="473111" creationId="{D9A67400-8943-43D6-888C-01F571B85E22}"/>
          </ac:picMkLst>
        </pc:picChg>
      </pc:sldChg>
      <pc:sldChg chg="addSp delSp modSp">
        <pc:chgData name="Lukas Haxter" userId="6d650791b1a54df7" providerId="LiveId" clId="{F6B56FA4-32F2-499C-AE59-2CD490C7890B}" dt="2018-08-12T15:01:29.416" v="57" actId="207"/>
        <pc:sldMkLst>
          <pc:docMk/>
          <pc:sldMk cId="1333273308" sldId="1329"/>
        </pc:sldMkLst>
        <pc:spChg chg="del">
          <ac:chgData name="Lukas Haxter" userId="6d650791b1a54df7" providerId="LiveId" clId="{F6B56FA4-32F2-499C-AE59-2CD490C7890B}" dt="2018-08-12T15:01:15.855" v="51" actId="478"/>
          <ac:spMkLst>
            <pc:docMk/>
            <pc:sldMk cId="1333273308" sldId="1329"/>
            <ac:spMk id="17" creationId="{00000000-0000-0000-0000-000000000000}"/>
          </ac:spMkLst>
        </pc:spChg>
        <pc:spChg chg="del">
          <ac:chgData name="Lukas Haxter" userId="6d650791b1a54df7" providerId="LiveId" clId="{F6B56FA4-32F2-499C-AE59-2CD490C7890B}" dt="2018-08-12T15:00:16.747" v="49" actId="478"/>
          <ac:spMkLst>
            <pc:docMk/>
            <pc:sldMk cId="1333273308" sldId="1329"/>
            <ac:spMk id="19" creationId="{00000000-0000-0000-0000-000000000000}"/>
          </ac:spMkLst>
        </pc:spChg>
        <pc:grpChg chg="del">
          <ac:chgData name="Lukas Haxter" userId="6d650791b1a54df7" providerId="LiveId" clId="{F6B56FA4-32F2-499C-AE59-2CD490C7890B}" dt="2018-08-12T15:01:14.087" v="50" actId="478"/>
          <ac:grpSpMkLst>
            <pc:docMk/>
            <pc:sldMk cId="1333273308" sldId="1329"/>
            <ac:grpSpMk id="3" creationId="{00000000-0000-0000-0000-000000000000}"/>
          </ac:grpSpMkLst>
        </pc:grpChg>
        <pc:graphicFrameChg chg="mod">
          <ac:chgData name="Lukas Haxter" userId="6d650791b1a54df7" providerId="LiveId" clId="{F6B56FA4-32F2-499C-AE59-2CD490C7890B}" dt="2018-08-12T15:01:29.416" v="57" actId="207"/>
          <ac:graphicFrameMkLst>
            <pc:docMk/>
            <pc:sldMk cId="1333273308" sldId="1329"/>
            <ac:graphicFrameMk id="4" creationId="{00000000-0000-0000-0000-000000000000}"/>
          </ac:graphicFrameMkLst>
        </pc:graphicFrameChg>
        <pc:picChg chg="del">
          <ac:chgData name="Lukas Haxter" userId="6d650791b1a54df7" providerId="LiveId" clId="{F6B56FA4-32F2-499C-AE59-2CD490C7890B}" dt="2018-08-12T15:00:14.257" v="47" actId="478"/>
          <ac:picMkLst>
            <pc:docMk/>
            <pc:sldMk cId="1333273308" sldId="1329"/>
            <ac:picMk id="5" creationId="{00000000-0000-0000-0000-000000000000}"/>
          </ac:picMkLst>
        </pc:picChg>
        <pc:picChg chg="del">
          <ac:chgData name="Lukas Haxter" userId="6d650791b1a54df7" providerId="LiveId" clId="{F6B56FA4-32F2-499C-AE59-2CD490C7890B}" dt="2018-08-12T15:01:14.087" v="50" actId="478"/>
          <ac:picMkLst>
            <pc:docMk/>
            <pc:sldMk cId="1333273308" sldId="1329"/>
            <ac:picMk id="9" creationId="{00000000-0000-0000-0000-000000000000}"/>
          </ac:picMkLst>
        </pc:picChg>
        <pc:picChg chg="add">
          <ac:chgData name="Lukas Haxter" userId="6d650791b1a54df7" providerId="LiveId" clId="{F6B56FA4-32F2-499C-AE59-2CD490C7890B}" dt="2018-08-12T15:00:14.652" v="48"/>
          <ac:picMkLst>
            <pc:docMk/>
            <pc:sldMk cId="1333273308" sldId="1329"/>
            <ac:picMk id="20" creationId="{76856814-3349-4870-9A02-05DF8DB99C2E}"/>
          </ac:picMkLst>
        </pc:picChg>
      </pc:sldChg>
      <pc:sldChg chg="modSp add">
        <pc:chgData name="Lukas Haxter" userId="6d650791b1a54df7" providerId="LiveId" clId="{F6B56FA4-32F2-499C-AE59-2CD490C7890B}" dt="2018-08-12T15:03:27.104" v="93" actId="20577"/>
        <pc:sldMkLst>
          <pc:docMk/>
          <pc:sldMk cId="4281813099" sldId="1335"/>
        </pc:sldMkLst>
        <pc:spChg chg="mod">
          <ac:chgData name="Lukas Haxter" userId="6d650791b1a54df7" providerId="LiveId" clId="{F6B56FA4-32F2-499C-AE59-2CD490C7890B}" dt="2018-08-12T15:03:27.104" v="93" actId="20577"/>
          <ac:spMkLst>
            <pc:docMk/>
            <pc:sldMk cId="4281813099" sldId="1335"/>
            <ac:spMk id="2" creationId="{5641220D-4928-455C-9552-AEA6AE4F701B}"/>
          </ac:spMkLst>
        </pc:spChg>
      </pc:sldChg>
      <pc:sldChg chg="addSp modSp add">
        <pc:chgData name="Lukas Haxter" userId="6d650791b1a54df7" providerId="LiveId" clId="{F6B56FA4-32F2-499C-AE59-2CD490C7890B}" dt="2018-08-12T15:27:25.339" v="471"/>
        <pc:sldMkLst>
          <pc:docMk/>
          <pc:sldMk cId="1917843087" sldId="1336"/>
        </pc:sldMkLst>
        <pc:spChg chg="mod">
          <ac:chgData name="Lukas Haxter" userId="6d650791b1a54df7" providerId="LiveId" clId="{F6B56FA4-32F2-499C-AE59-2CD490C7890B}" dt="2018-08-12T15:05:08.186" v="226" actId="20577"/>
          <ac:spMkLst>
            <pc:docMk/>
            <pc:sldMk cId="1917843087" sldId="1336"/>
            <ac:spMk id="2" creationId="{480D63E5-BEE7-4D13-BAC1-FB9DCA752D47}"/>
          </ac:spMkLst>
        </pc:spChg>
        <pc:graphicFrameChg chg="add mod modGraphic">
          <ac:chgData name="Lukas Haxter" userId="6d650791b1a54df7" providerId="LiveId" clId="{F6B56FA4-32F2-499C-AE59-2CD490C7890B}" dt="2018-08-12T15:27:25.339" v="471"/>
          <ac:graphicFrameMkLst>
            <pc:docMk/>
            <pc:sldMk cId="1917843087" sldId="1336"/>
            <ac:graphicFrameMk id="3" creationId="{7360B589-2030-49C4-B518-BD5EC1FFB21A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1543" cy="339884"/>
          </a:xfrm>
          <a:prstGeom prst="rect">
            <a:avLst/>
          </a:prstGeom>
        </p:spPr>
        <p:txBody>
          <a:bodyPr vert="horz" lIns="91424" tIns="45712" rIns="91424" bIns="45712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2803" y="0"/>
            <a:ext cx="4301543" cy="339884"/>
          </a:xfrm>
          <a:prstGeom prst="rect">
            <a:avLst/>
          </a:prstGeom>
        </p:spPr>
        <p:txBody>
          <a:bodyPr vert="horz" lIns="91424" tIns="45712" rIns="91424" bIns="45712" rtlCol="0"/>
          <a:lstStyle>
            <a:lvl1pPr algn="r">
              <a:defRPr sz="1200"/>
            </a:lvl1pPr>
          </a:lstStyle>
          <a:p>
            <a:fld id="{72739193-98B9-467C-A30B-9B568CA49304}" type="datetimeFigureOut">
              <a:rPr lang="de-DE" smtClean="0"/>
              <a:t>21.01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456612"/>
            <a:ext cx="4301543" cy="339884"/>
          </a:xfrm>
          <a:prstGeom prst="rect">
            <a:avLst/>
          </a:prstGeom>
        </p:spPr>
        <p:txBody>
          <a:bodyPr vert="horz" lIns="91424" tIns="45712" rIns="91424" bIns="45712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2803" y="6456612"/>
            <a:ext cx="4301543" cy="339884"/>
          </a:xfrm>
          <a:prstGeom prst="rect">
            <a:avLst/>
          </a:prstGeom>
        </p:spPr>
        <p:txBody>
          <a:bodyPr vert="horz" lIns="91424" tIns="45712" rIns="91424" bIns="45712" rtlCol="0" anchor="b"/>
          <a:lstStyle>
            <a:lvl1pPr algn="r">
              <a:defRPr sz="1200"/>
            </a:lvl1pPr>
          </a:lstStyle>
          <a:p>
            <a:fld id="{BEE653A8-9090-44A4-9F1E-43F483DB92F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31139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1543" cy="339884"/>
          </a:xfrm>
          <a:prstGeom prst="rect">
            <a:avLst/>
          </a:prstGeom>
        </p:spPr>
        <p:txBody>
          <a:bodyPr vert="horz" lIns="91424" tIns="45712" rIns="91424" bIns="45712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2803" y="0"/>
            <a:ext cx="4301543" cy="339884"/>
          </a:xfrm>
          <a:prstGeom prst="rect">
            <a:avLst/>
          </a:prstGeom>
        </p:spPr>
        <p:txBody>
          <a:bodyPr vert="horz" lIns="91424" tIns="45712" rIns="91424" bIns="45712" rtlCol="0"/>
          <a:lstStyle>
            <a:lvl1pPr algn="r">
              <a:defRPr sz="1200"/>
            </a:lvl1pPr>
          </a:lstStyle>
          <a:p>
            <a:fld id="{5AEDBF67-40E3-4E3B-AC44-8E160083769B}" type="datetimeFigureOut">
              <a:rPr lang="de-DE" smtClean="0"/>
              <a:t>21.01.2020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122613" y="509588"/>
            <a:ext cx="3681412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4" tIns="45712" rIns="91424" bIns="45712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665" y="3228899"/>
            <a:ext cx="7941310" cy="3058954"/>
          </a:xfrm>
          <a:prstGeom prst="rect">
            <a:avLst/>
          </a:prstGeom>
        </p:spPr>
        <p:txBody>
          <a:bodyPr vert="horz" lIns="91424" tIns="45712" rIns="91424" bIns="45712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456612"/>
            <a:ext cx="4301543" cy="339884"/>
          </a:xfrm>
          <a:prstGeom prst="rect">
            <a:avLst/>
          </a:prstGeom>
        </p:spPr>
        <p:txBody>
          <a:bodyPr vert="horz" lIns="91424" tIns="45712" rIns="91424" bIns="45712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2803" y="6456612"/>
            <a:ext cx="4301543" cy="339884"/>
          </a:xfrm>
          <a:prstGeom prst="rect">
            <a:avLst/>
          </a:prstGeom>
        </p:spPr>
        <p:txBody>
          <a:bodyPr vert="horz" lIns="91424" tIns="45712" rIns="91424" bIns="45712" rtlCol="0" anchor="b"/>
          <a:lstStyle>
            <a:lvl1pPr algn="r">
              <a:defRPr sz="1200"/>
            </a:lvl1pPr>
          </a:lstStyle>
          <a:p>
            <a:fld id="{131F794C-3945-42F3-B1AF-1B852CB342EF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21948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.xml"/><Relationship Id="rId7" Type="http://schemas.openxmlformats.org/officeDocument/2006/relationships/image" Target="../media/image2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1373779"/>
              </p:ext>
            </p:extLst>
          </p:nvPr>
        </p:nvGraphicFramePr>
        <p:xfrm>
          <a:off x="1721" y="1588"/>
          <a:ext cx="172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6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1588"/>
                        <a:ext cx="172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71979" cy="15875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1" i="0" baseline="0" dirty="0">
              <a:solidFill>
                <a:srgbClr val="0035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925315" y="1868603"/>
            <a:ext cx="8420100" cy="866525"/>
          </a:xfrm>
        </p:spPr>
        <p:txBody>
          <a:bodyPr anchor="t" anchorCtr="0">
            <a:normAutofit/>
          </a:bodyPr>
          <a:lstStyle>
            <a:lvl1pPr algn="l">
              <a:defRPr sz="2800" baseline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/>
              <a:t>Haupttitel</a:t>
            </a:r>
            <a:br>
              <a:rPr lang="de-DE" dirty="0"/>
            </a:br>
            <a:r>
              <a:rPr lang="de-DE" dirty="0"/>
              <a:t>(max. 2 Zeilen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925315" y="3679881"/>
            <a:ext cx="8420400" cy="648072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spcBef>
                <a:spcPts val="0"/>
              </a:spcBef>
              <a:buNone/>
              <a:defRPr sz="2400" baseline="0">
                <a:solidFill>
                  <a:srgbClr val="0035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220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1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1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2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Untertitel</a:t>
            </a:r>
          </a:p>
          <a:p>
            <a:r>
              <a:rPr lang="de-DE" dirty="0"/>
              <a:t>(max. 2 Zeilen)</a:t>
            </a:r>
          </a:p>
        </p:txBody>
      </p:sp>
      <p:sp>
        <p:nvSpPr>
          <p:cNvPr id="5" name="Rechteck 4"/>
          <p:cNvSpPr/>
          <p:nvPr userDrawn="1"/>
        </p:nvSpPr>
        <p:spPr>
          <a:xfrm>
            <a:off x="637729" y="1868598"/>
            <a:ext cx="287586" cy="3624391"/>
          </a:xfrm>
          <a:prstGeom prst="rect">
            <a:avLst/>
          </a:prstGeom>
          <a:solidFill>
            <a:srgbClr val="0035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62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925315" y="5276965"/>
            <a:ext cx="8420400" cy="216024"/>
          </a:xfrm>
          <a:prstGeom prst="rect">
            <a:avLst/>
          </a:prstGeom>
        </p:spPr>
        <p:txBody>
          <a:bodyPr wrap="none" lIns="0" tIns="0" rIns="0" bIns="0" anchor="b" anchorCtr="0"/>
          <a:lstStyle>
            <a:lvl1pPr marL="0" indent="0">
              <a:spcBef>
                <a:spcPts val="0"/>
              </a:spcBef>
              <a:buNone/>
              <a:defRPr sz="1200" i="0" baseline="0">
                <a:solidFill>
                  <a:srgbClr val="0035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de-DE" dirty="0"/>
              <a:t>Telefonnummer | E-Mail-Adresse</a:t>
            </a:r>
          </a:p>
        </p:txBody>
      </p:sp>
      <p:sp>
        <p:nvSpPr>
          <p:cNvPr id="22" name="Textplatzhalt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925315" y="4797152"/>
            <a:ext cx="8420400" cy="331862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 marL="0" indent="0">
              <a:buNone/>
              <a:defRPr sz="2000" i="0" baseline="0">
                <a:solidFill>
                  <a:srgbClr val="0035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de-DE" dirty="0"/>
              <a:t>Ersteller, Ort, Datum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80803" y="224956"/>
            <a:ext cx="864612" cy="8275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" name="Grafik 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504" y="224956"/>
            <a:ext cx="2606326" cy="822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964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12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8537128"/>
              </p:ext>
            </p:extLst>
          </p:nvPr>
        </p:nvGraphicFramePr>
        <p:xfrm>
          <a:off x="1592" y="159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2" y="159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71979" cy="15875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>
              <a:solidFill>
                <a:srgbClr val="0035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95304" y="1340780"/>
            <a:ext cx="8922275" cy="4967949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1108"/>
              </a:spcBef>
              <a:defRPr sz="1662">
                <a:solidFill>
                  <a:srgbClr val="0035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spcBef>
                <a:spcPts val="554"/>
              </a:spcBef>
              <a:defRPr sz="1662">
                <a:solidFill>
                  <a:srgbClr val="0035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spcBef>
                <a:spcPts val="554"/>
              </a:spcBef>
              <a:defRPr sz="1477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spcBef>
                <a:spcPts val="554"/>
              </a:spcBef>
              <a:defRPr sz="1292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spcBef>
                <a:spcPts val="554"/>
              </a:spcBef>
              <a:defRPr sz="1292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>
          <a:xfrm>
            <a:off x="495304" y="270650"/>
            <a:ext cx="8922275" cy="854888"/>
          </a:xfrm>
        </p:spPr>
        <p:txBody>
          <a:bodyPr/>
          <a:lstStyle/>
          <a:p>
            <a:r>
              <a:rPr lang="de-DE" dirty="0"/>
              <a:t>Header (max. 2 Zeilen)</a:t>
            </a:r>
          </a:p>
        </p:txBody>
      </p:sp>
    </p:spTree>
    <p:extLst>
      <p:ext uri="{BB962C8B-B14F-4D97-AF65-F5344CB8AC3E}">
        <p14:creationId xmlns:p14="http://schemas.microsoft.com/office/powerpoint/2010/main" val="4146702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93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5296390"/>
              </p:ext>
            </p:extLst>
          </p:nvPr>
        </p:nvGraphicFramePr>
        <p:xfrm>
          <a:off x="1721" y="1588"/>
          <a:ext cx="172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4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1588"/>
                        <a:ext cx="172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71979" cy="15875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215" b="1" i="0" baseline="0" dirty="0">
              <a:solidFill>
                <a:srgbClr val="0035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" name="Rechteck 4"/>
          <p:cNvSpPr/>
          <p:nvPr userDrawn="1"/>
        </p:nvSpPr>
        <p:spPr>
          <a:xfrm>
            <a:off x="495303" y="270650"/>
            <a:ext cx="8921751" cy="8548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 defTabSz="844056">
              <a:spcBef>
                <a:spcPct val="0"/>
              </a:spcBef>
              <a:buNone/>
            </a:pPr>
            <a:r>
              <a:rPr lang="de-DE" sz="2400" b="1" baseline="0" dirty="0">
                <a:solidFill>
                  <a:srgbClr val="0035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genda</a:t>
            </a:r>
            <a:endParaRPr lang="de-DE" sz="2215" b="1" baseline="0" dirty="0">
              <a:solidFill>
                <a:srgbClr val="0035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 userDrawn="1"/>
        </p:nvGraphicFramePr>
        <p:xfrm>
          <a:off x="515677" y="1340768"/>
          <a:ext cx="8881004" cy="2160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881004">
                  <a:extLst>
                    <a:ext uri="{9D8B030D-6E8A-4147-A177-3AD203B41FA5}">
                      <a16:colId xmlns:a16="http://schemas.microsoft.com/office/drawing/2014/main" val="637757924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r>
                        <a:rPr lang="de-DE" sz="2000" b="1" dirty="0">
                          <a:solidFill>
                            <a:srgbClr val="00356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1. Platzhalter</a:t>
                      </a:r>
                    </a:p>
                  </a:txBody>
                  <a:tcPr marL="99060" marR="9906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8067222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r>
                        <a:rPr lang="de-DE" sz="2000" b="0" dirty="0">
                          <a:solidFill>
                            <a:srgbClr val="00356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2. Platzhalter</a:t>
                      </a:r>
                    </a:p>
                  </a:txBody>
                  <a:tcPr marL="99060" marR="9906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9678644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r>
                        <a:rPr lang="de-DE" sz="2000" b="0" dirty="0">
                          <a:solidFill>
                            <a:srgbClr val="00356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3. Platzhalter</a:t>
                      </a:r>
                    </a:p>
                  </a:txBody>
                  <a:tcPr marL="99060" marR="9906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3471291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r>
                        <a:rPr lang="de-DE" sz="2000" b="0" dirty="0">
                          <a:solidFill>
                            <a:srgbClr val="00356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</a:rPr>
                        <a:t>4. Platzhalter</a:t>
                      </a:r>
                    </a:p>
                  </a:txBody>
                  <a:tcPr marL="99060" marR="9906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64459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945342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443052"/>
              </p:ext>
            </p:extLst>
          </p:nvPr>
        </p:nvGraphicFramePr>
        <p:xfrm>
          <a:off x="1721" y="1588"/>
          <a:ext cx="172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0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1588"/>
                        <a:ext cx="172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71979" cy="15875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>
              <a:solidFill>
                <a:srgbClr val="0035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>
          <a:xfrm>
            <a:off x="495305" y="270654"/>
            <a:ext cx="8922196" cy="603807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 dirty="0"/>
              <a:t>Header (max. 2 Zeilen)</a:t>
            </a:r>
          </a:p>
        </p:txBody>
      </p:sp>
    </p:spTree>
    <p:extLst>
      <p:ext uri="{BB962C8B-B14F-4D97-AF65-F5344CB8AC3E}">
        <p14:creationId xmlns:p14="http://schemas.microsoft.com/office/powerpoint/2010/main" val="22351176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2157862"/>
              </p:ext>
            </p:extLst>
          </p:nvPr>
        </p:nvGraphicFramePr>
        <p:xfrm>
          <a:off x="1721" y="1588"/>
          <a:ext cx="172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6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1588"/>
                        <a:ext cx="172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71979" cy="15875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>
              <a:solidFill>
                <a:srgbClr val="0035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Header (max. 2 Zeilen)</a:t>
            </a:r>
          </a:p>
        </p:txBody>
      </p:sp>
    </p:spTree>
    <p:extLst>
      <p:ext uri="{BB962C8B-B14F-4D97-AF65-F5344CB8AC3E}">
        <p14:creationId xmlns:p14="http://schemas.microsoft.com/office/powerpoint/2010/main" val="22661617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5003587"/>
              </p:ext>
            </p:extLst>
          </p:nvPr>
        </p:nvGraphicFramePr>
        <p:xfrm>
          <a:off x="1721" y="1588"/>
          <a:ext cx="172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0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1588"/>
                        <a:ext cx="172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71979" cy="15875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215" b="1" i="0" baseline="0" dirty="0">
              <a:solidFill>
                <a:srgbClr val="0035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5" name="Rechteck 4"/>
          <p:cNvSpPr/>
          <p:nvPr userDrawn="1"/>
        </p:nvSpPr>
        <p:spPr>
          <a:xfrm>
            <a:off x="495303" y="270650"/>
            <a:ext cx="8921751" cy="8548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 defTabSz="844056">
              <a:spcBef>
                <a:spcPct val="0"/>
              </a:spcBef>
              <a:buNone/>
            </a:pPr>
            <a:r>
              <a:rPr lang="de-DE" sz="2215" b="1" baseline="0" dirty="0" smtClean="0">
                <a:solidFill>
                  <a:srgbClr val="0035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ITLE</a:t>
            </a:r>
            <a:endParaRPr lang="de-DE" sz="2215" b="1" baseline="0" dirty="0">
              <a:solidFill>
                <a:srgbClr val="0035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03285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281222"/>
              </p:ext>
            </p:extLst>
          </p:nvPr>
        </p:nvGraphicFramePr>
        <p:xfrm>
          <a:off x="1721" y="1588"/>
          <a:ext cx="172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4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1588"/>
                        <a:ext cx="172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71979" cy="15875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>
              <a:solidFill>
                <a:srgbClr val="0035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>
          <a:xfrm>
            <a:off x="495305" y="270654"/>
            <a:ext cx="8922196" cy="603807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de-DE" dirty="0"/>
              <a:t>Header (max. 2 Zeilen)</a:t>
            </a:r>
          </a:p>
        </p:txBody>
      </p:sp>
    </p:spTree>
    <p:extLst>
      <p:ext uri="{BB962C8B-B14F-4D97-AF65-F5344CB8AC3E}">
        <p14:creationId xmlns:p14="http://schemas.microsoft.com/office/powerpoint/2010/main" val="26871535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360714999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" name="think-cell Folie" r:id="rId12" imgW="473" imgH="470" progId="TCLayout.ActiveDocument.1">
                  <p:embed/>
                </p:oleObj>
              </mc:Choice>
              <mc:Fallback>
                <p:oleObj name="think-cell Folie" r:id="rId12" imgW="473" imgH="4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71979" cy="15875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215" b="1" i="0" baseline="0" dirty="0">
              <a:solidFill>
                <a:srgbClr val="0035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95303" y="270650"/>
            <a:ext cx="8921751" cy="8548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SMD-Master</a:t>
            </a:r>
          </a:p>
        </p:txBody>
      </p:sp>
      <p:sp>
        <p:nvSpPr>
          <p:cNvPr id="10" name="Fußzeilenplatzhalter 4"/>
          <p:cNvSpPr txBox="1">
            <a:spLocks/>
          </p:cNvSpPr>
          <p:nvPr userDrawn="1"/>
        </p:nvSpPr>
        <p:spPr>
          <a:xfrm>
            <a:off x="6160579" y="6571868"/>
            <a:ext cx="3040897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ctr" defTabSz="914400" rtl="0" eaLnBrk="1" latinLnBrk="0" hangingPunct="1">
              <a:defRPr sz="1000" kern="1200">
                <a:solidFill>
                  <a:srgbClr val="0035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1000" dirty="0"/>
              <a:t>Sales Management Department </a:t>
            </a:r>
            <a:r>
              <a:rPr lang="en-US" sz="1000" dirty="0"/>
              <a:t>| </a:t>
            </a:r>
            <a:r>
              <a:rPr lang="en-US" sz="1000" dirty="0" smtClean="0"/>
              <a:t>30.01.2020 </a:t>
            </a:r>
            <a:r>
              <a:rPr lang="en-US" sz="1000" dirty="0"/>
              <a:t>|</a:t>
            </a:r>
            <a:endParaRPr lang="de-DE" sz="1000" dirty="0"/>
          </a:p>
        </p:txBody>
      </p:sp>
      <p:sp>
        <p:nvSpPr>
          <p:cNvPr id="11" name="Fußzeilenplatzhalter 4"/>
          <p:cNvSpPr txBox="1">
            <a:spLocks/>
          </p:cNvSpPr>
          <p:nvPr userDrawn="1"/>
        </p:nvSpPr>
        <p:spPr>
          <a:xfrm>
            <a:off x="9202308" y="6571868"/>
            <a:ext cx="312586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ctr" defTabSz="914400" rtl="0" eaLnBrk="1" latinLnBrk="0" hangingPunct="1">
              <a:defRPr sz="1000" kern="1200">
                <a:solidFill>
                  <a:srgbClr val="0035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0C722A50-C854-40DF-BAE5-4E69E3A4119C}" type="slidenum">
              <a:rPr lang="de-DE" sz="1000" smtClean="0">
                <a:solidFill>
                  <a:srgbClr val="003560"/>
                </a:solidFill>
              </a:rPr>
              <a:pPr algn="r"/>
              <a:t>‹Nr.›</a:t>
            </a:fld>
            <a:endParaRPr lang="de-DE" sz="923" dirty="0">
              <a:solidFill>
                <a:srgbClr val="003560"/>
              </a:solidFill>
            </a:endParaRPr>
          </a:p>
        </p:txBody>
      </p:sp>
      <p:cxnSp>
        <p:nvCxnSpPr>
          <p:cNvPr id="12" name="Gerade Verbindung 20">
            <a:extLst>
              <a:ext uri="{FF2B5EF4-FFF2-40B4-BE49-F238E27FC236}">
                <a16:creationId xmlns:a16="http://schemas.microsoft.com/office/drawing/2014/main" id="{ED4948F3-4669-4EC8-9D08-50DB00155D27}"/>
              </a:ext>
            </a:extLst>
          </p:cNvPr>
          <p:cNvCxnSpPr/>
          <p:nvPr userDrawn="1"/>
        </p:nvCxnSpPr>
        <p:spPr>
          <a:xfrm>
            <a:off x="0" y="6465211"/>
            <a:ext cx="9906000" cy="0"/>
          </a:xfrm>
          <a:prstGeom prst="line">
            <a:avLst/>
          </a:prstGeom>
          <a:ln>
            <a:solidFill>
              <a:srgbClr val="0035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37706" y="6519668"/>
            <a:ext cx="318950" cy="294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3" y="6505020"/>
            <a:ext cx="857297" cy="270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7389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82" r:id="rId3"/>
    <p:sldLayoutId id="2147483667" r:id="rId4"/>
    <p:sldLayoutId id="2147483666" r:id="rId5"/>
    <p:sldLayoutId id="2147483681" r:id="rId6"/>
    <p:sldLayoutId id="2147483668" r:id="rId7"/>
  </p:sldLayoutIdLst>
  <p:hf hdr="0" ftr="0" dt="0"/>
  <p:txStyles>
    <p:titleStyle>
      <a:lvl1pPr algn="l" defTabSz="844056" rtl="0" eaLnBrk="1" latinLnBrk="0" hangingPunct="1">
        <a:spcBef>
          <a:spcPct val="0"/>
        </a:spcBef>
        <a:buNone/>
        <a:defRPr sz="2400" b="1" kern="1200" baseline="0">
          <a:solidFill>
            <a:srgbClr val="00356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316521" indent="-316521" algn="l" defTabSz="84405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797" indent="-263768" algn="l" defTabSz="844056" rtl="0" eaLnBrk="1" latinLnBrk="0" hangingPunct="1">
        <a:spcBef>
          <a:spcPct val="20000"/>
        </a:spcBef>
        <a:buFont typeface="Arial" panose="020B0604020202020204" pitchFamily="34" charset="0"/>
        <a:buChar char="–"/>
        <a:defRPr sz="1846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055071" indent="-211014" algn="l" defTabSz="844056" rtl="0" eaLnBrk="1" latinLnBrk="0" hangingPunct="1">
        <a:spcBef>
          <a:spcPct val="20000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77099" indent="-211014" algn="l" defTabSz="844056" rtl="0" eaLnBrk="1" latinLnBrk="0" hangingPunct="1">
        <a:spcBef>
          <a:spcPct val="20000"/>
        </a:spcBef>
        <a:buFont typeface="Arial" panose="020B0604020202020204" pitchFamily="34" charset="0"/>
        <a:buChar char="–"/>
        <a:defRPr sz="147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99128" indent="-211014" algn="l" defTabSz="844056" rtl="0" eaLnBrk="1" latinLnBrk="0" hangingPunct="1">
        <a:spcBef>
          <a:spcPct val="20000"/>
        </a:spcBef>
        <a:buFont typeface="Arial" panose="020B0604020202020204" pitchFamily="34" charset="0"/>
        <a:buChar char="»"/>
        <a:defRPr sz="147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321155" indent="-211014" algn="l" defTabSz="844056" rtl="0" eaLnBrk="1" latinLnBrk="0" hangingPunct="1">
        <a:spcBef>
          <a:spcPct val="20000"/>
        </a:spcBef>
        <a:buFont typeface="Arial" panose="020B0604020202020204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5" indent="-211014" algn="l" defTabSz="844056" rtl="0" eaLnBrk="1" latinLnBrk="0" hangingPunct="1">
        <a:spcBef>
          <a:spcPct val="20000"/>
        </a:spcBef>
        <a:buFont typeface="Arial" panose="020B0604020202020204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213" indent="-211014" algn="l" defTabSz="844056" rtl="0" eaLnBrk="1" latinLnBrk="0" hangingPunct="1">
        <a:spcBef>
          <a:spcPct val="20000"/>
        </a:spcBef>
        <a:buFont typeface="Arial" panose="020B0604020202020204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241" indent="-211014" algn="l" defTabSz="844056" rtl="0" eaLnBrk="1" latinLnBrk="0" hangingPunct="1">
        <a:spcBef>
          <a:spcPct val="20000"/>
        </a:spcBef>
        <a:buFont typeface="Arial" panose="020B0604020202020204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28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56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086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14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142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169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198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227" algn="l" defTabSz="844056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974" userDrawn="1">
          <p15:clr>
            <a:srgbClr val="F26B43"/>
          </p15:clr>
        </p15:guide>
        <p15:guide id="2" pos="5932" userDrawn="1">
          <p15:clr>
            <a:srgbClr val="F26B43"/>
          </p15:clr>
        </p15:guide>
        <p15:guide id="3" pos="308" userDrawn="1">
          <p15:clr>
            <a:srgbClr val="F26B43"/>
          </p15:clr>
        </p15:guide>
        <p15:guide id="4" orient="horz" pos="709" userDrawn="1">
          <p15:clr>
            <a:srgbClr val="F26B43"/>
          </p15:clr>
        </p15:guide>
        <p15:guide id="5" pos="3120" userDrawn="1">
          <p15:clr>
            <a:srgbClr val="F26B43"/>
          </p15:clr>
        </p15:guide>
        <p15:guide id="6" pos="3220" userDrawn="1">
          <p15:clr>
            <a:srgbClr val="F26B43"/>
          </p15:clr>
        </p15:guide>
        <p15:guide id="7" pos="3029" userDrawn="1">
          <p15:clr>
            <a:srgbClr val="F26B43"/>
          </p15:clr>
        </p15:guide>
        <p15:guide id="8" orient="horz" pos="164" userDrawn="1">
          <p15:clr>
            <a:srgbClr val="F26B43"/>
          </p15:clr>
        </p15:guide>
        <p15:guide id="9" orient="horz" pos="2432" userDrawn="1">
          <p15:clr>
            <a:srgbClr val="F26B43"/>
          </p15:clr>
        </p15:guide>
        <p15:guide id="10" orient="horz" pos="799" userDrawn="1">
          <p15:clr>
            <a:srgbClr val="F26B43"/>
          </p15:clr>
        </p15:guide>
        <p15:guide id="11" orient="horz" pos="2387" userDrawn="1">
          <p15:clr>
            <a:srgbClr val="F26B43"/>
          </p15:clr>
        </p15:guide>
        <p15:guide id="12" orient="horz" pos="234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22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2800" b="1" dirty="0">
              <a:solidFill>
                <a:srgbClr val="0035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917608" y="2673034"/>
            <a:ext cx="8641044" cy="5399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0" rIns="0" bIns="108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kumimoji="0" lang="de-DE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56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TITEL DER</a:t>
            </a:r>
            <a:r>
              <a:rPr kumimoji="0" lang="de-DE" sz="2800" b="1" i="0" u="none" strike="noStrike" kern="1200" cap="none" spc="0" normalizeH="0" noProof="0" dirty="0" smtClean="0">
                <a:ln>
                  <a:noFill/>
                </a:ln>
                <a:solidFill>
                  <a:srgbClr val="00356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BACHELORARBEIT</a:t>
            </a:r>
            <a:endParaRPr lang="de-DE" sz="1400" dirty="0">
              <a:solidFill>
                <a:srgbClr val="0035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917608" y="3085414"/>
            <a:ext cx="8641044" cy="5440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0" bIns="10800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3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sz="2000" dirty="0" smtClean="0">
                <a:solidFill>
                  <a:srgbClr val="00356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ORNAME </a:t>
            </a:r>
            <a:r>
              <a:rPr lang="de-DE" sz="2000" dirty="0" smtClean="0">
                <a:solidFill>
                  <a:srgbClr val="00356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ACHNAME (MATR. NUMMER)</a:t>
            </a:r>
            <a:endParaRPr kumimoji="0" lang="de-DE" sz="2000" b="0" i="0" u="none" strike="noStrike" kern="1200" cap="none" spc="0" normalizeH="0" baseline="0" noProof="0" dirty="0">
              <a:ln>
                <a:noFill/>
              </a:ln>
              <a:solidFill>
                <a:srgbClr val="00356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917608" y="3893639"/>
            <a:ext cx="8641044" cy="11414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0" bIns="10800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2000" dirty="0" smtClean="0">
                <a:solidFill>
                  <a:srgbClr val="00356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Geprüft durch: </a:t>
            </a:r>
          </a:p>
          <a:p>
            <a:r>
              <a:rPr lang="de-DE" sz="2000" dirty="0" smtClean="0">
                <a:solidFill>
                  <a:srgbClr val="00356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RSTPRÜFER</a:t>
            </a:r>
          </a:p>
          <a:p>
            <a:r>
              <a:rPr lang="de-DE" sz="2000" dirty="0" smtClean="0">
                <a:solidFill>
                  <a:srgbClr val="00356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ZWEITPRÜFER</a:t>
            </a:r>
            <a:endParaRPr lang="de-DE" sz="2000" dirty="0">
              <a:solidFill>
                <a:srgbClr val="00356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8467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93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22459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PRESENTATIONDONOTDELETE" val="&lt;?xml version=&quot;1.0&quot; encoding=&quot;UTF-16&quot; standalone=&quot;yes&quot;?&gt;&lt;root reqver=&quot;24162&quot;&gt;&lt;version val=&quot;2699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9&quot;&gt;&lt;elem m_fUsage=&quot;2.63055679592890800933E+00&quot;&gt;&lt;m_msothmcolidx val=&quot;0&quot;/&gt;&lt;m_rgb r=&quot;C0&quot; g=&quot;00&quot; b=&quot;00&quot;/&gt;&lt;m_nBrightness tagver0=&quot;26206&quot; tagname0=&quot;m_nBrightnessUNRECOGNIZED&quot; val=&quot;0&quot;/&gt;&lt;/elem&gt;&lt;elem m_fUsage=&quot;2.06385018674377995751E+00&quot;&gt;&lt;m_msothmcolidx val=&quot;0&quot;/&gt;&lt;m_rgb r=&quot;A2&quot; g=&quot;C1&quot; b=&quot;35&quot;/&gt;&lt;m_nBrightness tagver0=&quot;26206&quot; tagname0=&quot;m_nBrightnessUNRECOGNIZED&quot; val=&quot;0&quot;/&gt;&lt;/elem&gt;&lt;elem m_fUsage=&quot;1.98764838900000007094E+00&quot;&gt;&lt;m_msothmcolidx val=&quot;0&quot;/&gt;&lt;m_rgb r=&quot;8D&quot; g=&quot;ED&quot; b=&quot;FE&quot;/&gt;&lt;m_nBrightness tagver0=&quot;26206&quot; tagname0=&quot;m_nBrightnessUNRECOGNIZED&quot; val=&quot;0&quot;/&gt;&lt;/elem&gt;&lt;elem m_fUsage=&quot;1.71289674648100032073E+00&quot;&gt;&lt;m_msothmcolidx val=&quot;0&quot;/&gt;&lt;m_rgb r=&quot;FF&quot; g=&quot;BB&quot; b=&quot;BB&quot;/&gt;&lt;m_nBrightness tagver0=&quot;26206&quot; tagname0=&quot;m_nBrightnessUNRECOGNIZED&quot; val=&quot;0&quot;/&gt;&lt;/elem&gt;&lt;elem m_fUsage=&quot;6.10388337198116359694E-01&quot;&gt;&lt;m_msothmcolidx val=&quot;0&quot;/&gt;&lt;m_rgb r=&quot;FF&quot; g=&quot;B9&quot; b=&quot;B9&quot;/&gt;&lt;m_nBrightness tagver0=&quot;26206&quot; tagname0=&quot;m_nBrightnessUNRECOGNIZED&quot; val=&quot;0&quot;/&gt;&lt;/elem&gt;&lt;elem m_fUsage=&quot;4.26285441425177324959E-01&quot;&gt;&lt;m_msothmcolidx val=&quot;0&quot;/&gt;&lt;m_rgb r=&quot;E9&quot; g=&quot;ED&quot; b=&quot;F4&quot;/&gt;&lt;m_nBrightness tagver0=&quot;26206&quot; tagname0=&quot;m_nBrightnessUNRECOGNIZED&quot; val=&quot;0&quot;/&gt;&lt;/elem&gt;&lt;elem m_fUsage=&quot;1.35085171767299283552E-01&quot;&gt;&lt;m_msothmcolidx val=&quot;0&quot;/&gt;&lt;m_rgb r=&quot;EB&quot; g=&quot;78&quot; b=&quot;0A&quot;/&gt;&lt;m_nBrightness tagver0=&quot;26206&quot; tagname0=&quot;m_nBrightnessUNRECOGNIZED&quot; val=&quot;0&quot;/&gt;&lt;/elem&gt;&lt;elem m_fUsage=&quot;1.10484500305776153772E-01&quot;&gt;&lt;m_msothmcolidx val=&quot;0&quot;/&gt;&lt;m_rgb r=&quot;FF&quot; g=&quot;C0&quot; b=&quot;00&quot;/&gt;&lt;m_nBrightness tagver0=&quot;26206&quot; tagname0=&quot;m_nBrightnessUNRECOGNIZED&quot; val=&quot;0&quot;/&gt;&lt;/elem&gt;&lt;elem m_fUsage=&quot;7.24888806506197441726E-02&quot;&gt;&lt;m_msothmcolidx val=&quot;0&quot;/&gt;&lt;m_rgb r=&quot;F9&quot; g=&quot;91&quot; b=&quot;AD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jTNQT2Tv66C9MUpBMTG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WiY2usQymmj7LCD8iQC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WiY2usQymmj7LCD8iQC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jTNQT2Tv66C9MUpBMTG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TwFuRAQ_q7yXxk2cgxm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m6Scg1Rc.xi3Di9YEB2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zizn3uQ1qiNTkA3Y8KI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VbWWVARkaFYtAz1azOi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WiY2usQymmj7LCD8iQCQ"/>
</p:tagLst>
</file>

<file path=ppt/theme/theme1.xml><?xml version="1.0" encoding="utf-8"?>
<a:theme xmlns:a="http://schemas.openxmlformats.org/drawingml/2006/main" name="SMD">
  <a:themeElements>
    <a:clrScheme name="RUB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F497D"/>
      </a:accent1>
      <a:accent2>
        <a:srgbClr val="A2C135"/>
      </a:accent2>
      <a:accent3>
        <a:srgbClr val="A5A5A5"/>
      </a:accent3>
      <a:accent4>
        <a:srgbClr val="8DB3E2"/>
      </a:accent4>
      <a:accent5>
        <a:srgbClr val="CEE08C"/>
      </a:accent5>
      <a:accent6>
        <a:srgbClr val="F2F2F2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noFill/>
        </a:ln>
      </a:spPr>
      <a:bodyPr rtlCol="0" anchor="ctr"/>
      <a:lstStyle>
        <a:defPPr algn="ctr">
          <a:defRPr sz="1400" dirty="0" smtClean="0">
            <a:solidFill>
              <a:srgbClr val="003560"/>
            </a:solidFill>
            <a:latin typeface="Verdana" panose="020B0604030504040204" pitchFamily="34" charset="0"/>
            <a:ea typeface="Verdana" panose="020B0604030504040204" pitchFamily="34" charset="0"/>
            <a:cs typeface="Verdana" panose="020B060403050404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5</Words>
  <Application>Microsoft Office PowerPoint</Application>
  <PresentationFormat>A4-Papier (210 x 297 mm)</PresentationFormat>
  <Paragraphs>5</Paragraphs>
  <Slides>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8" baseType="lpstr">
      <vt:lpstr>Arial</vt:lpstr>
      <vt:lpstr>Calibri</vt:lpstr>
      <vt:lpstr>Verdana</vt:lpstr>
      <vt:lpstr>SMD</vt:lpstr>
      <vt:lpstr>think-cell Folie</vt:lpstr>
      <vt:lpstr>PowerPoint-Präsentation</vt:lpstr>
      <vt:lpstr>PowerPoint-Präsentation</vt:lpstr>
      <vt:lpstr>PowerPoint-Prä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seminar - Vorlage</dc:title>
  <dc:subject/>
  <dc:creator>Max Frieß</dc:creator>
  <cp:keywords/>
  <dc:description/>
  <cp:lastModifiedBy>Max Frieß</cp:lastModifiedBy>
  <cp:revision>3600</cp:revision>
  <cp:lastPrinted>2019-11-11T08:04:53Z</cp:lastPrinted>
  <dcterms:created xsi:type="dcterms:W3CDTF">8052-06-11T17:59:54Z</dcterms:created>
  <dcterms:modified xsi:type="dcterms:W3CDTF">2020-01-21T09:29:07Z</dcterms:modified>
  <cp:category/>
  <cp:contentStatus/>
</cp:coreProperties>
</file>